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25"/>
  </p:notesMasterIdLst>
  <p:sldIdLst>
    <p:sldId id="261" r:id="rId3"/>
    <p:sldId id="314" r:id="rId4"/>
    <p:sldId id="290" r:id="rId5"/>
    <p:sldId id="301" r:id="rId6"/>
    <p:sldId id="305" r:id="rId7"/>
    <p:sldId id="303" r:id="rId8"/>
    <p:sldId id="308" r:id="rId9"/>
    <p:sldId id="307" r:id="rId10"/>
    <p:sldId id="312" r:id="rId11"/>
    <p:sldId id="15001131" r:id="rId12"/>
    <p:sldId id="15001132" r:id="rId13"/>
    <p:sldId id="15001133" r:id="rId14"/>
    <p:sldId id="15001145" r:id="rId15"/>
    <p:sldId id="15001146" r:id="rId16"/>
    <p:sldId id="15001147" r:id="rId17"/>
    <p:sldId id="15001148" r:id="rId18"/>
    <p:sldId id="15001149" r:id="rId19"/>
    <p:sldId id="15001150" r:id="rId20"/>
    <p:sldId id="15001151" r:id="rId21"/>
    <p:sldId id="15001152" r:id="rId22"/>
    <p:sldId id="15001153" r:id="rId23"/>
    <p:sldId id="15001154" r:id="rId24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6404" autoAdjust="0"/>
  </p:normalViewPr>
  <p:slideViewPr>
    <p:cSldViewPr snapToGrid="0">
      <p:cViewPr varScale="1">
        <p:scale>
          <a:sx n="107" d="100"/>
          <a:sy n="107" d="100"/>
        </p:scale>
        <p:origin x="6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04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9309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9935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1902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946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8635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363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232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33202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35683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596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опросам корпоративного </a:t>
            </a:r>
          </a:p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оходного налога 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стана, ноябрь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раздела по КПН в действующем Налоговом кодексе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0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/>
        </p:nvGraphicFramePr>
        <p:xfrm>
          <a:off x="302231" y="1113576"/>
          <a:ext cx="11587538" cy="5595445"/>
        </p:xfrm>
        <a:graphic>
          <a:graphicData uri="http://schemas.openxmlformats.org/drawingml/2006/table">
            <a:tbl>
              <a:tblPr/>
              <a:tblGrid>
                <a:gridCol w="1209698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4484930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4019738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873172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ать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303313">
                <a:tc rowSpan="15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 7.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7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щие положе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22, 223 (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285752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8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 Налогооблагаемый доход</a:t>
                      </a:r>
                    </a:p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24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999194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Г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25-241 (18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931423"/>
                  </a:ext>
                </a:extLst>
              </a:tr>
              <a:tr h="27222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42-264 (2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163645"/>
                  </a:ext>
                </a:extLst>
              </a:tr>
              <a:tr h="341514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 по фиксированным актива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65-273 (9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793157"/>
                  </a:ext>
                </a:extLst>
              </a:tr>
              <a:tr h="37126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нвест. налоговые преференц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74-275 (3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425012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5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роизводные финансовые инструмен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77-281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556532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6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лгосрочные контрак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82-285 (4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821150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7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орректировка доходов и вычет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86, 287 (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97761"/>
                  </a:ext>
                </a:extLst>
              </a:tr>
              <a:tr h="521574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9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меньшение или увеличение НД (уменьшение убытка) и освобождение от НО некоторых категорий Н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88-293 (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469230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0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логообложение прибыли КИ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94-298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647025"/>
                  </a:ext>
                </a:extLst>
              </a:tr>
              <a:tr h="227145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бытк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99-301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688111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орядок исчисления и сроки уплаты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02-312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0849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ПН, удерживаемый у источника выпла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07-312 (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306096"/>
                  </a:ext>
                </a:extLst>
              </a:tr>
              <a:tr h="393406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авки налога, налоговый период и налоговая декларац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13-315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88565"/>
                  </a:ext>
                </a:extLst>
              </a:tr>
              <a:tr h="3934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165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23300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раздела по КПН в проекте Налогового кодекса (1/1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1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/>
        </p:nvGraphicFramePr>
        <p:xfrm>
          <a:off x="302231" y="1143209"/>
          <a:ext cx="11587538" cy="4971841"/>
        </p:xfrm>
        <a:graphic>
          <a:graphicData uri="http://schemas.openxmlformats.org/drawingml/2006/table">
            <a:tbl>
              <a:tblPr/>
              <a:tblGrid>
                <a:gridCol w="1059253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3844259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5042780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641246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ать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112012">
                <a:tc rowSpan="18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 5.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щие положе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26-228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16237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логооблагаемый доход или убыто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29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50827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Г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щие положе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30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077975"/>
                  </a:ext>
                </a:extLst>
              </a:tr>
              <a:tr h="20081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кономические выгоды, не признаваемые доходо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31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296039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тдельные виды деятельности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32-242 (1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877845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ход от прироста стоимост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43-247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202761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5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меньшение и корректировка доход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48, 249 (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70044"/>
                  </a:ext>
                </a:extLst>
              </a:tr>
              <a:tr h="184882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5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бщие положе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50 (1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896614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тдельные виды вычет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51-266 (1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925361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 по фиксированным актива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67-275 (9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47111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нвестиционные налоговые преференц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76-278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914585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5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атраты, не подлежащие вычет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79, 280 (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8444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6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орректировка вычет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81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299807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6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обенности определения доходов и вычетов по производным финансовым инструментам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282-286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628426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7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обенности определения доходов и вычетов по долгосрочным контракта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87-289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52857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8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обенности определения доходов и вычетов недропользователе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90-292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557348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93-295 (9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75912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 расходов на геологическое изучение, разведку и подготовительные работы к добыче природных ресурс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296-309 (14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637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9409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раздела по КПН в проекте Налогового кодекса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2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/>
        </p:nvGraphicFramePr>
        <p:xfrm>
          <a:off x="302231" y="1143209"/>
          <a:ext cx="11587538" cy="4724011"/>
        </p:xfrm>
        <a:graphic>
          <a:graphicData uri="http://schemas.openxmlformats.org/drawingml/2006/table">
            <a:tbl>
              <a:tblPr/>
              <a:tblGrid>
                <a:gridCol w="1059253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3844259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5042780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641246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ать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112012"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дел 5.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29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обенности определения доходов и вычетов лицами, осуществляющими финансовую деятельно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ходы лиц, осуществляющих финансовую деятельно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10-312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16237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ычеты лиц, осуществляющих финансовую деятельно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13-315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50827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0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собенности определения доходов и вычетов лицами, осуществляющими операции с цифровыми активам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16-318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077975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логообложение некоммерческих организаций и специализированных организаций лиц с инвалидностью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19-322 (4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018694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логообложение прибыли КИ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23-327 (5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439768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3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меньшение налогооблагаемого доход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28 (1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81498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4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бытк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29-335 (7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206175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5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орядок исчисления и сроки уплаты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1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счисление и уплата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36-338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278766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 2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Авансовые платежи по КП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39-341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002817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6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ПН, удерживаемый у источника выплат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42-347 (6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51211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лава 37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авки налога, налоговый период и налоговая декларация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т. 348-350 (3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491174"/>
                  </a:ext>
                </a:extLst>
              </a:tr>
              <a:tr h="3033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8739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2798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зменения структуры раздела по КПН в проекте Налогового кодекса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68709" y="1859851"/>
            <a:ext cx="5507012" cy="3985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ламентация доходов и вычетов</a:t>
            </a:r>
            <a:endParaRPr lang="ru-RU" sz="20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2912" lvl="4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ьные особенности налогообложения</a:t>
            </a:r>
          </a:p>
          <a:p>
            <a:pPr marL="0" lvl="4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е налогообложения дохода,  убытки</a:t>
            </a:r>
          </a:p>
          <a:p>
            <a:pPr marL="0" lvl="4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исчисления, декларирования и уплаты КПН</a:t>
            </a:r>
          </a:p>
          <a:p>
            <a:pPr marL="0" lvl="4" algn="just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2A843D0-C23E-4E8D-87C1-401312AA4CD4}"/>
              </a:ext>
            </a:extLst>
          </p:cNvPr>
          <p:cNvSpPr/>
          <p:nvPr/>
        </p:nvSpPr>
        <p:spPr>
          <a:xfrm>
            <a:off x="6863125" y="2210448"/>
            <a:ext cx="4787324" cy="2759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В целях удобства и простоты применения норм по КПН </a:t>
            </a:r>
          </a:p>
          <a:p>
            <a:pPr algn="just" defTabSz="895350">
              <a:spcAft>
                <a:spcPts val="800"/>
              </a:spcAft>
              <a:buClr>
                <a:srgbClr val="0070CE"/>
              </a:buClr>
              <a:buSzPct val="100000"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В целях конкретизации видов доходов и вычетов, что позволит по конкретному виду деятельности и виду вычетов применять соответствующие нормы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Правая фигурная скобка 6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>
            <a:off x="5787574" y="1859851"/>
            <a:ext cx="444010" cy="3605780"/>
          </a:xfrm>
          <a:prstGeom prst="rightBrace">
            <a:avLst>
              <a:gd name="adj1" fmla="val 114144"/>
              <a:gd name="adj2" fmla="val 50824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CuadroTexto 350">
            <a:extLst>
              <a:ext uri="{FF2B5EF4-FFF2-40B4-BE49-F238E27FC236}">
                <a16:creationId xmlns:a16="http://schemas.microsoft.com/office/drawing/2014/main" id="{DF9C76F2-C9ED-42F2-9AAE-297704F7A677}"/>
              </a:ext>
            </a:extLst>
          </p:cNvPr>
          <p:cNvSpPr txBox="1"/>
          <p:nvPr/>
        </p:nvSpPr>
        <p:spPr>
          <a:xfrm>
            <a:off x="1261727" y="1268277"/>
            <a:ext cx="372097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kern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Heavy" charset="0"/>
                <a:cs typeface="Arial" panose="020B0604020202020204" pitchFamily="34" charset="0"/>
              </a:rPr>
              <a:t>ПРЕДЛАГАЕТСЯ</a:t>
            </a:r>
            <a:endParaRPr lang="en-US" sz="1600" b="1" kern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Heavy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5850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гламентация доходов (1/1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160618"/>
            <a:ext cx="11937188" cy="53860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виды доходов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от нецелевого использования средств ликвидационного фонда полигонов захоронения отходов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при передаче углеводородов в случае исполнения налогового обязательства в натуральной форме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от прироста стоимости при выбытии цифровых активов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лица, осуществляющего цифровой майнинг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цифрового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нингового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ула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 биржи цифровых активов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ужденные или признанные должником неустойки (штрафы, пени)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ая разница при применении нового метода оценки запасов</a:t>
            </a: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 доход, полученный при эксплуатации объектов социальной сферы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ены отдельными разделами особенности определения доходов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ным финансовым инструментам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госрочным контрактам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м с цифровыми активами, финансовой деятельности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телями</a:t>
            </a:r>
          </a:p>
        </p:txBody>
      </p:sp>
    </p:spTree>
    <p:extLst>
      <p:ext uri="{BB962C8B-B14F-4D97-AF65-F5344CB8AC3E}">
        <p14:creationId xmlns:p14="http://schemas.microsoft.com/office/powerpoint/2010/main" val="7197449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гламентация доходов (1/2)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(доход от прироста стоимости)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111934"/>
            <a:ext cx="11937188" cy="7001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отдельный параграф по доходу от прироста стоимости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ение на отдельные виды доходов от прироста стоимости 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зависимости от особенностей формирования первоначальной стоимости)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ле участия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ценным бумагам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активам, стоимость которых полностью отнесена на вычеты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чим активам, не подлежащим амортизации</a:t>
            </a:r>
          </a:p>
          <a:p>
            <a:pPr marL="2825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ортизируемым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ам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объекты социальной сферы и выкупленные для госнужд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ены неустановленным оборудованием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а инвентаризация и синхронизация с порядком переноса убытков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ится новый элемент «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ируемы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ы»</a:t>
            </a:r>
          </a:p>
          <a:p>
            <a:pPr marL="2825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692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гламентация вычетов (1/1)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88976"/>
            <a:ext cx="11937188" cy="6078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отдельные вычеты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 налога на добавленную стоимость плательщиками налога на добавленную стоимость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 компенсаций  по поездкам членов совета директоров или иного органа управления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сти вычетов по взаиморасчетам с нерезидентом – взаимосвязанной стороной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 по списанному требованию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 последующих расходов       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ены в отдельные разделы особенности определения вычетов: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8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изводным финансовым инструментам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8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лгосрочным контрактам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8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перациям с цифровыми активами, финансовой деятельности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8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телями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ение затрат, не подлежащих вычету на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ы, не подлежащие вычету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ы, учтенные в предшествующих периодах, подлежащие исключению при наступлении установленных случаев в отчетном периоде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422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гламентация вычетов (1/2)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288153"/>
            <a:ext cx="11937188" cy="60478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ы по фиксированным активам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граф полностью переработан, проведена инвентаризация норм, нормы детализированы с учетом практики применения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 подход по учету фиксированных активов и нормы амортизации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остава фиксированных активов исключены активы, введенные в эксплуатацию в рамках инвестиционных контрактов, заключенных до 2009 года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выбора по вычету последующих </a:t>
            </a:r>
            <a:r>
              <a:rPr lang="ru-RU" ker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ов фиксированных активов единовременно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бо через капитализацию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налоговые преференции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ются через отнесение на вычеты затрат, включаемых в первоначальную стоимость объекта преференций (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 – стоимость объекта преференций и последующих расходов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преференций расширены на программное обеспечение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о условие по введению на территории РК таких активов впервые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даниям и сооружениям исключено условие «производственного назначения»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элемента «контрольный период»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применения при сдаче активов в аренду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8333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>
                <a:latin typeface="Arial" panose="020B0604020202020204" pitchFamily="34" charset="0"/>
                <a:cs typeface="Arial" panose="020B0604020202020204" pitchFamily="34" charset="0"/>
              </a:rPr>
              <a:t>Отдельные особенности налогообложения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7818" y="1379982"/>
            <a:ext cx="11629370" cy="3954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обложение по операциям с цифровыми активами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ьный подход определения доходов по цифровым активам, полученным в результате майнинга и приобретенным цифровым активам</a:t>
            </a: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обложение долгосрочных контрактов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остранение на договора строительного подряда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а дата окончания срока долгосрочного контракта</a:t>
            </a: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индексации (корректировки) требования или обязательства, подлежащего выплате в тенге в связи с изменением рыночного курса валюты в виде дохода или затрат, к которому они отнесены в бухучете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138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>
                <a:latin typeface="Arial" panose="020B0604020202020204" pitchFamily="34" charset="0"/>
                <a:cs typeface="Arial" panose="020B0604020202020204" pitchFamily="34" charset="0"/>
              </a:rPr>
              <a:t>Уменьшение налогооблагаемого дохода (НОД) и убытки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9387" y="1122044"/>
            <a:ext cx="11937188" cy="5416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е НОД по доходам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уменьшения вознаграждений по договору лизинга уменьшен с 100% до 50%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доходы по государственным ценным бумагам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лен доход от прироста стоимости по долговым ценным бумагам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е НОД по расходам: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о превышение расходов над доходами по объектам социальной сферы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а безвозмездная передача имуществ автономным организациям образования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расходы на приобретение или строительство зданий и сооружений производственного назначения субъектом малого предпринимательства в сфере обработки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 размер уменьшения от суммы расходов на НИОКР с 50% до 200%</a:t>
            </a: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ытки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ламентация убытков (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предпринимательской деятельности, выбытия долгосрочных материальных активов; от выбытия инвестиционных активов; по объекту интеллектуальной собственности участников «Астана Хаб», по ПФИ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ереноса и (или) компенсации убытков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нтаризация и синхронизация с доходом от прироста стоимости</a:t>
            </a:r>
          </a:p>
        </p:txBody>
      </p:sp>
    </p:spTree>
    <p:extLst>
      <p:ext uri="{BB962C8B-B14F-4D97-AF65-F5344CB8AC3E}">
        <p14:creationId xmlns:p14="http://schemas.microsoft.com/office/powerpoint/2010/main" val="3831968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екущая ситуация по ставкам КПН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43228" y="1330859"/>
            <a:ext cx="11759117" cy="4224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ая ставка – 2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и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ельхозтоваропроизводителей – 10%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 производители сельскохозяйственной продукции, сельскохозяйственные кооперативы, применяющие специальный налоговый режим,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раве уменьшить сумму КПН на 70% 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 социальной сферы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пределении суммы КПН, подлежащей уплате в бюджет,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ают сумму исчисленного КПН на 100%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логовая льгота)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 имеет право на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ение налогооблагаемого доход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00%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ходам, полученным по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ам лизинга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логовая льгота)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0977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>
                <a:latin typeface="Arial" panose="020B0604020202020204" pitchFamily="34" charset="0"/>
                <a:cs typeface="Arial" panose="020B0604020202020204" pitchFamily="34" charset="0"/>
              </a:rPr>
              <a:t>Порядок исчисления, декларирования и уплаты КПН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316606"/>
            <a:ext cx="11937188" cy="3316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обязательства по определению отдельно налогооблагаемых доходов при применении разных ставок КПН и раздельного учет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числение авансовых платежей за 1 квартал органами государственных доходов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расчета по авансовым платежам до сдачи декларации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5081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сключенные налоговые льготы (основные)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26896"/>
            <a:ext cx="11937188" cy="64094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условий для корректировки инвестиционных доходов акционерных инвестиционных фондов и инвестиционных фондов МФЦА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корректировки на стоимость имущества, полученного государственным предприятием от государственного учреждения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корректировки доходов при прекращении банком обязательств по займам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льготы для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компаний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вычету вознаграждений по сделкам материнской и дочерней организаций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 из вычета налогов КПН у источника выплаты, уплаченный за счет собственных средств по вознаграждению по займам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ая льгота КТЖ по применению инвестиционных налоговых преференций при реорганизации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дельные льготные нормы для автономных организаций образования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на освобождения от КПН на пониженную ставку КПН (10%) для организаций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.сферы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1858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охраненные налоговые льготы (основные)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99" y="1465990"/>
            <a:ext cx="11668602" cy="417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пециальных экономических зон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ов, являющихся участниками международного технологического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к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стана Хаб»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м проектам по видам деятельности, определенным 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ем по инвестициям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ным доходам, 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я списки фондовой биржи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ходам, получаемым налогоплательщиками, осуществляющими перевозку груза и (или) предоставляющими услуги по договорам бербоут-чартера, тайм-чартера 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рским судном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ходам, получаемым налогоплательщиками, являющимися 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обладателями национального фильма</a:t>
            </a:r>
          </a:p>
        </p:txBody>
      </p:sp>
    </p:spTree>
    <p:extLst>
      <p:ext uri="{BB962C8B-B14F-4D97-AF65-F5344CB8AC3E}">
        <p14:creationId xmlns:p14="http://schemas.microsoft.com/office/powerpoint/2010/main" val="1481013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ый опыт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3</a:t>
            </a:fld>
            <a:endParaRPr lang="en-US" sz="1050" dirty="0"/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22E4FC5F-F1BE-47FF-BC6A-2F6EC23631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613701"/>
              </p:ext>
            </p:extLst>
          </p:nvPr>
        </p:nvGraphicFramePr>
        <p:xfrm>
          <a:off x="1430447" y="1317665"/>
          <a:ext cx="8845235" cy="25440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3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12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ОЭСР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тавк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ША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3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ц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пон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ерма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вег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нада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лянд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9553F85F-58B8-41B0-A0DD-A0E687444B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641746"/>
              </p:ext>
            </p:extLst>
          </p:nvPr>
        </p:nvGraphicFramePr>
        <p:xfrm>
          <a:off x="1430448" y="4250900"/>
          <a:ext cx="8845235" cy="17289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41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33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54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ЕАЭС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и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1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2180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финансового сектор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4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43229" y="1620570"/>
            <a:ext cx="11480598" cy="4570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банковского сектора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5%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исключением доходов, полученных от кредитования реального сектора экономики, по которым применяется базовая ставка – 20%</a:t>
            </a:r>
          </a:p>
          <a:p>
            <a:pPr marL="6254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велирование влияния на налогообложение банков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елок с дочерними организациями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обложение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ых, перестраховочных организаций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СФО 17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21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игорного бизнес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5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88907" y="1566249"/>
            <a:ext cx="11390063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при оказании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 казино, зала игровых автоматов 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5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существлении деятельности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ской конторы, тотализатора – единая ставка налог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игорный бизнес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всех налогов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 предлагается: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изнавать плательщиками НДС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ы игорного бизнеса (оказание услуг по деятельности казино, зала игровых автоматов, тотализаторов и букмекерской конторы) </a:t>
            </a:r>
            <a:endParaRPr lang="ru-RU" sz="1400" b="1" i="1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ставок по объектам игорного бизнеса в 2 раза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гровой стол, игровой автомат, касса тотализатора, электронная касса тотализатора, касса букмекерской конторы, электронная касса букмекерской конторы)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ожение подоходным налогом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ически выплаченной суммы игроку (участнику)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endParaRPr lang="ru-RU" sz="1400" i="1" kern="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06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социальной сферы и некоммерческих организаций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25122" y="1394233"/>
            <a:ext cx="11136565" cy="6024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циальной сферы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бразование, медицина, наука, культура, спорт, библиотеки)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рганизаций социальной сферы выплата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ов своим акционерам и учредителям 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йчас освобождены от уплаты КПН с ограничением выплаты дивидендов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порядка налогообложения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ими организациями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КПН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оответствии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ой организации условиям организации социальной сферы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1431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по договорам финансового лизинг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7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45800" y="2435066"/>
            <a:ext cx="4385565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инансовому лизингу 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6450" lvl="4" indent="-3635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у предоставляется право на уменьшение налогооблагаемого дохода на 50% от суммы вознаграждения по договору лизинга 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ейчас 100%)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98FB048C-595F-4963-8569-089CA78518C4}"/>
              </a:ext>
            </a:extLst>
          </p:cNvPr>
          <p:cNvCxnSpPr>
            <a:cxnSpLocks/>
          </p:cNvCxnSpPr>
          <p:nvPr/>
        </p:nvCxnSpPr>
        <p:spPr>
          <a:xfrm flipV="1">
            <a:off x="5232307" y="1054159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4E27D0-34AA-46F4-B5A9-B9DD90266212}"/>
              </a:ext>
            </a:extLst>
          </p:cNvPr>
          <p:cNvSpPr/>
          <p:nvPr/>
        </p:nvSpPr>
        <p:spPr>
          <a:xfrm>
            <a:off x="5579018" y="1554817"/>
            <a:ext cx="5952204" cy="47295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Лизинг,  строящийся на основе льготного налогообложения, снижает налоговые поступления в бюджет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озволяет своим участникам увеличивать и перераспределять стоимость предоставленных государством налоговых льгот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 все налоговые преимущества лизинга получает арендатор, а часть из них переходит лизингодателю, т.е. льготы теряют свое целевое назначение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 сегодняшний день лизинг остается высокодоходной отраслью экономики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отери бюджета от применения льготы составляют свыше 20 млрд. тенге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(по данным КГД МФ РК)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779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8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37182" y="1498402"/>
            <a:ext cx="11317635" cy="46166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обрабатывающей промышленности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зависимости от уровня переделов)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установленном режиме по КПН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«универсальных» возможностей, стимулирующих инвестиции в реальный сектор экономики: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налоговые преференции в виде 100% вычет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 на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/строительство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аний, сооружений, машин, оборудования, программного обеспечения с обязательным условием использования не менее 3 лет</a:t>
            </a:r>
          </a:p>
          <a:p>
            <a:pPr marL="2825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ы на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ю, модернизацию, капитальный и текущий ремонт </a:t>
            </a:r>
            <a:r>
              <a:rPr kumimoji="1"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выбору налогоплательщика единовременно или через амортизацию)</a:t>
            </a:r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800" i="0" u="none" strike="noStrike" dirty="0">
              <a:solidFill>
                <a:srgbClr val="00B05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800" i="0" u="none" strike="noStrike" dirty="0">
              <a:solidFill>
                <a:srgbClr val="00B05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800" i="0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отери по КПН за 2025-2027 гг.  составят порядка </a:t>
            </a:r>
            <a:r>
              <a:rPr lang="ru-KZ" sz="1800" b="1" i="0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81</a:t>
            </a:r>
            <a:r>
              <a:rPr lang="ru-RU" sz="1800" b="1" i="0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4</a:t>
            </a:r>
            <a:r>
              <a:rPr lang="ru-KZ" sz="1800" b="1" i="0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0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</a:t>
            </a:r>
            <a:endParaRPr lang="ru-RU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69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НИОКР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9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607453" y="2505670"/>
            <a:ext cx="422391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ектировка налогооблагаемого дохода по расходам на финансирование науки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змере 200% (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первычет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0%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6D7B7CF-8D1B-4146-BAE7-37E014F6165D}"/>
              </a:ext>
            </a:extLst>
          </p:cNvPr>
          <p:cNvSpPr/>
          <p:nvPr/>
        </p:nvSpPr>
        <p:spPr>
          <a:xfrm>
            <a:off x="5636232" y="1693316"/>
            <a:ext cx="5952204" cy="44525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ривлечение частных инвестиций на НИОКР, что увеличит инвестиционную активность в научной сфере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озволит обеспечить увеличение доли малого и среднего бизнеса, инвестирующих в НИОКР и инновации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ост коммерциализации результатов научной и научно-технической деятельности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Улучшит привлекательность научных исследований для предпринимателей, в т.ч. доли опытно-конструкторских работ, что позволит рос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укоемкост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ВВП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i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232307" y="1054159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7B3D269-EEE5-4674-B4F9-A0C63F54CB69}"/>
              </a:ext>
            </a:extLst>
          </p:cNvPr>
          <p:cNvSpPr txBox="1"/>
          <p:nvPr/>
        </p:nvSpPr>
        <p:spPr>
          <a:xfrm>
            <a:off x="805980" y="4380370"/>
            <a:ext cx="4223912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i="1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</a:rPr>
              <a:t>Условные потери за 2025-2029 гг. составят порядка </a:t>
            </a:r>
            <a:r>
              <a:rPr lang="ru-KZ" sz="1600" b="1" i="1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</a:rPr>
              <a:t>1</a:t>
            </a:r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</a:rPr>
              <a:t>,</a:t>
            </a:r>
            <a:r>
              <a:rPr lang="ru-KZ" sz="1600" b="1" i="1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ru-RU" sz="1600" b="1" i="1" u="none" strike="noStrike" dirty="0">
                <a:solidFill>
                  <a:srgbClr val="0070C0"/>
                </a:solidFill>
                <a:effectLst/>
                <a:latin typeface="Arial" panose="020B0604020202020204" pitchFamily="34" charset="0"/>
              </a:rPr>
              <a:t>9 млрд. тенге.</a:t>
            </a:r>
            <a:endParaRPr lang="ru-RU" sz="16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160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9</TotalTime>
  <Words>2297</Words>
  <Application>Microsoft Office PowerPoint</Application>
  <PresentationFormat>Широкоэкранный</PresentationFormat>
  <Paragraphs>396</Paragraphs>
  <Slides>22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219</cp:revision>
  <cp:lastPrinted>2024-11-01T09:27:09Z</cp:lastPrinted>
  <dcterms:created xsi:type="dcterms:W3CDTF">2024-10-07T12:30:20Z</dcterms:created>
  <dcterms:modified xsi:type="dcterms:W3CDTF">2024-11-04T01:50:53Z</dcterms:modified>
</cp:coreProperties>
</file>